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sldIdLst>
    <p:sldId id="257" r:id="rId6"/>
    <p:sldId id="256" r:id="rId7"/>
    <p:sldId id="548" r:id="rId8"/>
    <p:sldId id="553" r:id="rId9"/>
    <p:sldId id="549" r:id="rId10"/>
    <p:sldId id="552" r:id="rId11"/>
    <p:sldId id="551" r:id="rId12"/>
    <p:sldId id="554" r:id="rId13"/>
    <p:sldId id="269" r:id="rId14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BCE8"/>
    <a:srgbClr val="FFCC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69B890-7DF7-3020-8776-3E60DD34B515}" v="4" dt="2022-10-27T06:51:15.382"/>
    <p1510:client id="{20AD2A51-16EF-4346-AA92-4F83DFF46C7E}" v="9" dt="2022-04-21T14:35:13.957"/>
    <p1510:client id="{5080E5A9-A819-BC2E-5F4C-79E153F09B07}" v="414" dt="2022-07-14T14:01:38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70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Beissel" userId="7f761a91-e9fe-43d8-a8fe-0f72b5675661" providerId="ADAL" clId="{20AD2A51-16EF-4346-AA92-4F83DFF46C7E}"/>
    <pc:docChg chg="undo custSel addSld delSld modSld sldOrd">
      <pc:chgData name="Alexander Beissel" userId="7f761a91-e9fe-43d8-a8fe-0f72b5675661" providerId="ADAL" clId="{20AD2A51-16EF-4346-AA92-4F83DFF46C7E}" dt="2022-04-25T06:52:15.467" v="2069" actId="20577"/>
      <pc:docMkLst>
        <pc:docMk/>
      </pc:docMkLst>
      <pc:sldChg chg="modSp mod">
        <pc:chgData name="Alexander Beissel" userId="7f761a91-e9fe-43d8-a8fe-0f72b5675661" providerId="ADAL" clId="{20AD2A51-16EF-4346-AA92-4F83DFF46C7E}" dt="2022-04-25T06:50:39.179" v="1988" actId="20577"/>
        <pc:sldMkLst>
          <pc:docMk/>
          <pc:sldMk cId="1534853746" sldId="256"/>
        </pc:sldMkLst>
        <pc:spChg chg="mod">
          <ac:chgData name="Alexander Beissel" userId="7f761a91-e9fe-43d8-a8fe-0f72b5675661" providerId="ADAL" clId="{20AD2A51-16EF-4346-AA92-4F83DFF46C7E}" dt="2022-04-25T06:50:35.098" v="1984" actId="20577"/>
          <ac:spMkLst>
            <pc:docMk/>
            <pc:sldMk cId="1534853746" sldId="256"/>
            <ac:spMk id="2" creationId="{04E2F5CE-B60C-4FF4-B015-C0DC1B2FE661}"/>
          </ac:spMkLst>
        </pc:spChg>
        <pc:spChg chg="mod">
          <ac:chgData name="Alexander Beissel" userId="7f761a91-e9fe-43d8-a8fe-0f72b5675661" providerId="ADAL" clId="{20AD2A51-16EF-4346-AA92-4F83DFF46C7E}" dt="2022-04-25T06:50:39.179" v="1988" actId="20577"/>
          <ac:spMkLst>
            <pc:docMk/>
            <pc:sldMk cId="1534853746" sldId="256"/>
            <ac:spMk id="3" creationId="{D4662AD7-B021-4EE6-A103-75FEF4E68589}"/>
          </ac:spMkLst>
        </pc:spChg>
      </pc:sldChg>
      <pc:sldChg chg="modSp add del mod">
        <pc:chgData name="Alexander Beissel" userId="7f761a91-e9fe-43d8-a8fe-0f72b5675661" providerId="ADAL" clId="{20AD2A51-16EF-4346-AA92-4F83DFF46C7E}" dt="2022-04-19T13:30:14.722" v="704" actId="20577"/>
        <pc:sldMkLst>
          <pc:docMk/>
          <pc:sldMk cId="3412142468" sldId="269"/>
        </pc:sldMkLst>
        <pc:spChg chg="mod">
          <ac:chgData name="Alexander Beissel" userId="7f761a91-e9fe-43d8-a8fe-0f72b5675661" providerId="ADAL" clId="{20AD2A51-16EF-4346-AA92-4F83DFF46C7E}" dt="2022-04-19T13:30:14.722" v="704" actId="20577"/>
          <ac:spMkLst>
            <pc:docMk/>
            <pc:sldMk cId="3412142468" sldId="269"/>
            <ac:spMk id="3" creationId="{84C5981A-FCDD-477D-8F05-28CFE4882260}"/>
          </ac:spMkLst>
        </pc:spChg>
      </pc:sldChg>
      <pc:sldChg chg="addSp delSp modSp new del mod modClrScheme chgLayout">
        <pc:chgData name="Alexander Beissel" userId="7f761a91-e9fe-43d8-a8fe-0f72b5675661" providerId="ADAL" clId="{20AD2A51-16EF-4346-AA92-4F83DFF46C7E}" dt="2022-04-25T06:51:55.803" v="2062" actId="47"/>
        <pc:sldMkLst>
          <pc:docMk/>
          <pc:sldMk cId="2340743589" sldId="270"/>
        </pc:sldMkLst>
        <pc:spChg chg="mod ord">
          <ac:chgData name="Alexander Beissel" userId="7f761a91-e9fe-43d8-a8fe-0f72b5675661" providerId="ADAL" clId="{20AD2A51-16EF-4346-AA92-4F83DFF46C7E}" dt="2022-04-21T14:32:51.900" v="1418" actId="20577"/>
          <ac:spMkLst>
            <pc:docMk/>
            <pc:sldMk cId="2340743589" sldId="270"/>
            <ac:spMk id="2" creationId="{30E7ADD6-30A9-4C7D-9A71-5894BFB944C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3" creationId="{32B12825-D2EB-4C56-9825-FF138617230B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4" creationId="{968FCD2B-DCAD-4F2C-814E-EBC342AADC4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5" creationId="{BCF5FABC-C703-4A70-B776-F60147186B43}"/>
          </ac:spMkLst>
        </pc:spChg>
        <pc:spChg chg="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6" creationId="{756E597D-1087-4A7F-A0AE-C095C99495BA}"/>
          </ac:spMkLst>
        </pc:spChg>
        <pc:spChg chg="add del mod ord">
          <ac:chgData name="Alexander Beissel" userId="7f761a91-e9fe-43d8-a8fe-0f72b5675661" providerId="ADAL" clId="{20AD2A51-16EF-4346-AA92-4F83DFF46C7E}" dt="2022-04-19T13:22:03.487" v="113" actId="478"/>
          <ac:spMkLst>
            <pc:docMk/>
            <pc:sldMk cId="2340743589" sldId="270"/>
            <ac:spMk id="7" creationId="{0B2AB1D0-175D-4F84-916B-1053E851DFE4}"/>
          </ac:spMkLst>
        </pc:spChg>
        <pc:spChg chg="add del mod ord">
          <ac:chgData name="Alexander Beissel" userId="7f761a91-e9fe-43d8-a8fe-0f72b5675661" providerId="ADAL" clId="{20AD2A51-16EF-4346-AA92-4F83DFF46C7E}" dt="2022-04-19T13:20:16.686" v="76" actId="478"/>
          <ac:spMkLst>
            <pc:docMk/>
            <pc:sldMk cId="2340743589" sldId="270"/>
            <ac:spMk id="8" creationId="{FDB19274-02CE-4A3C-93C5-A491A4BE021B}"/>
          </ac:spMkLst>
        </pc:spChg>
        <pc:spChg chg="add mod ord">
          <ac:chgData name="Alexander Beissel" userId="7f761a91-e9fe-43d8-a8fe-0f72b5675661" providerId="ADAL" clId="{20AD2A51-16EF-4346-AA92-4F83DFF46C7E}" dt="2022-04-21T14:35:13.954" v="1887" actId="20577"/>
          <ac:spMkLst>
            <pc:docMk/>
            <pc:sldMk cId="2340743589" sldId="270"/>
            <ac:spMk id="9" creationId="{443C20C9-A947-47E3-A174-E5851AA9E32F}"/>
          </ac:spMkLst>
        </pc:spChg>
        <pc:spChg chg="add del mod ord">
          <ac:chgData name="Alexander Beissel" userId="7f761a91-e9fe-43d8-a8fe-0f72b5675661" providerId="ADAL" clId="{20AD2A51-16EF-4346-AA92-4F83DFF46C7E}" dt="2022-04-19T13:20:17.325" v="77" actId="478"/>
          <ac:spMkLst>
            <pc:docMk/>
            <pc:sldMk cId="2340743589" sldId="270"/>
            <ac:spMk id="10" creationId="{C7421B3A-7072-489D-BF67-CC01954F30C2}"/>
          </ac:spMkLst>
        </pc:spChg>
      </pc:sldChg>
      <pc:sldChg chg="modSp new mod">
        <pc:chgData name="Alexander Beissel" userId="7f761a91-e9fe-43d8-a8fe-0f72b5675661" providerId="ADAL" clId="{20AD2A51-16EF-4346-AA92-4F83DFF46C7E}" dt="2022-04-25T06:52:15.467" v="2069" actId="20577"/>
        <pc:sldMkLst>
          <pc:docMk/>
          <pc:sldMk cId="742850561" sldId="271"/>
        </pc:sldMkLst>
        <pc:spChg chg="mod">
          <ac:chgData name="Alexander Beissel" userId="7f761a91-e9fe-43d8-a8fe-0f72b5675661" providerId="ADAL" clId="{20AD2A51-16EF-4346-AA92-4F83DFF46C7E}" dt="2022-04-21T14:35:26.364" v="1910" actId="20577"/>
          <ac:spMkLst>
            <pc:docMk/>
            <pc:sldMk cId="742850561" sldId="271"/>
            <ac:spMk id="2" creationId="{A9893BCC-8587-47A2-BA3B-57A871127D78}"/>
          </ac:spMkLst>
        </pc:spChg>
        <pc:spChg chg="mod">
          <ac:chgData name="Alexander Beissel" userId="7f761a91-e9fe-43d8-a8fe-0f72b5675661" providerId="ADAL" clId="{20AD2A51-16EF-4346-AA92-4F83DFF46C7E}" dt="2022-04-21T14:35:40.189" v="1936" actId="20577"/>
          <ac:spMkLst>
            <pc:docMk/>
            <pc:sldMk cId="742850561" sldId="271"/>
            <ac:spMk id="3" creationId="{CC9BB1A7-20DE-4EDA-A10A-DD90A265B403}"/>
          </ac:spMkLst>
        </pc:spChg>
        <pc:spChg chg="mod">
          <ac:chgData name="Alexander Beissel" userId="7f761a91-e9fe-43d8-a8fe-0f72b5675661" providerId="ADAL" clId="{20AD2A51-16EF-4346-AA92-4F83DFF46C7E}" dt="2022-04-25T06:52:15.467" v="2069" actId="20577"/>
          <ac:spMkLst>
            <pc:docMk/>
            <pc:sldMk cId="742850561" sldId="271"/>
            <ac:spMk id="4" creationId="{7C1C20A1-2C06-4C74-9E05-8378543E9DED}"/>
          </ac:spMkLst>
        </pc:spChg>
      </pc:sldChg>
      <pc:sldChg chg="delSp modSp add del mod">
        <pc:chgData name="Alexander Beissel" userId="7f761a91-e9fe-43d8-a8fe-0f72b5675661" providerId="ADAL" clId="{20AD2A51-16EF-4346-AA92-4F83DFF46C7E}" dt="2022-04-21T14:28:07.641" v="1084" actId="47"/>
        <pc:sldMkLst>
          <pc:docMk/>
          <pc:sldMk cId="823502061" sldId="271"/>
        </pc:sldMkLst>
        <pc:spChg chg="mod">
          <ac:chgData name="Alexander Beissel" userId="7f761a91-e9fe-43d8-a8fe-0f72b5675661" providerId="ADAL" clId="{20AD2A51-16EF-4346-AA92-4F83DFF46C7E}" dt="2022-04-19T13:21:53.046" v="112" actId="1076"/>
          <ac:spMkLst>
            <pc:docMk/>
            <pc:sldMk cId="823502061" sldId="271"/>
            <ac:spMk id="2" creationId="{30E7ADD6-30A9-4C7D-9A71-5894BFB944CD}"/>
          </ac:spMkLst>
        </pc:spChg>
        <pc:spChg chg="del">
          <ac:chgData name="Alexander Beissel" userId="7f761a91-e9fe-43d8-a8fe-0f72b5675661" providerId="ADAL" clId="{20AD2A51-16EF-4346-AA92-4F83DFF46C7E}" dt="2022-04-19T13:21:48.205" v="111" actId="478"/>
          <ac:spMkLst>
            <pc:docMk/>
            <pc:sldMk cId="823502061" sldId="271"/>
            <ac:spMk id="7" creationId="{0B2AB1D0-175D-4F84-916B-1053E851DFE4}"/>
          </ac:spMkLst>
        </pc:spChg>
        <pc:spChg chg="mod">
          <ac:chgData name="Alexander Beissel" userId="7f761a91-e9fe-43d8-a8fe-0f72b5675661" providerId="ADAL" clId="{20AD2A51-16EF-4346-AA92-4F83DFF46C7E}" dt="2022-04-19T13:36:52.657" v="735" actId="20577"/>
          <ac:spMkLst>
            <pc:docMk/>
            <pc:sldMk cId="823502061" sldId="271"/>
            <ac:spMk id="9" creationId="{443C20C9-A947-47E3-A174-E5851AA9E32F}"/>
          </ac:spMkLst>
        </pc:spChg>
      </pc:sldChg>
      <pc:sldChg chg="addSp delSp modSp new del mod">
        <pc:chgData name="Alexander Beissel" userId="7f761a91-e9fe-43d8-a8fe-0f72b5675661" providerId="ADAL" clId="{20AD2A51-16EF-4346-AA92-4F83DFF46C7E}" dt="2022-04-21T14:28:08.570" v="1085" actId="47"/>
        <pc:sldMkLst>
          <pc:docMk/>
          <pc:sldMk cId="1382344874" sldId="272"/>
        </pc:sldMkLst>
        <pc:spChg chg="mod">
          <ac:chgData name="Alexander Beissel" userId="7f761a91-e9fe-43d8-a8fe-0f72b5675661" providerId="ADAL" clId="{20AD2A51-16EF-4346-AA92-4F83DFF46C7E}" dt="2022-04-19T13:25:49.779" v="317"/>
          <ac:spMkLst>
            <pc:docMk/>
            <pc:sldMk cId="1382344874" sldId="272"/>
            <ac:spMk id="2" creationId="{DC537548-D614-4507-8AD3-E7D4455896A7}"/>
          </ac:spMkLst>
        </pc:spChg>
        <pc:spChg chg="del">
          <ac:chgData name="Alexander Beissel" userId="7f761a91-e9fe-43d8-a8fe-0f72b5675661" providerId="ADAL" clId="{20AD2A51-16EF-4346-AA92-4F83DFF46C7E}" dt="2022-04-19T13:25:55.103" v="320" actId="478"/>
          <ac:spMkLst>
            <pc:docMk/>
            <pc:sldMk cId="1382344874" sldId="272"/>
            <ac:spMk id="3" creationId="{3392DE05-E991-45BC-8F28-09155E8A25A2}"/>
          </ac:spMkLst>
        </pc:spChg>
        <pc:spChg chg="mod">
          <ac:chgData name="Alexander Beissel" userId="7f761a91-e9fe-43d8-a8fe-0f72b5675661" providerId="ADAL" clId="{20AD2A51-16EF-4346-AA92-4F83DFF46C7E}" dt="2022-04-19T13:26:14.448" v="336" actId="20577"/>
          <ac:spMkLst>
            <pc:docMk/>
            <pc:sldMk cId="1382344874" sldId="272"/>
            <ac:spMk id="4" creationId="{1E071B56-7AEE-4F53-A079-FE7B77F221FC}"/>
          </ac:spMkLst>
        </pc:spChg>
        <pc:spChg chg="del">
          <ac:chgData name="Alexander Beissel" userId="7f761a91-e9fe-43d8-a8fe-0f72b5675661" providerId="ADAL" clId="{20AD2A51-16EF-4346-AA92-4F83DFF46C7E}" dt="2022-04-19T13:26:17.071" v="338" actId="478"/>
          <ac:spMkLst>
            <pc:docMk/>
            <pc:sldMk cId="1382344874" sldId="272"/>
            <ac:spMk id="6" creationId="{8ED64B9C-B08F-45DC-9190-41F4A0DDFABB}"/>
          </ac:spMkLst>
        </pc:spChg>
        <pc:spChg chg="del">
          <ac:chgData name="Alexander Beissel" userId="7f761a91-e9fe-43d8-a8fe-0f72b5675661" providerId="ADAL" clId="{20AD2A51-16EF-4346-AA92-4F83DFF46C7E}" dt="2022-04-19T13:26:16.222" v="337" actId="478"/>
          <ac:spMkLst>
            <pc:docMk/>
            <pc:sldMk cId="1382344874" sldId="272"/>
            <ac:spMk id="7" creationId="{64E49C37-DC11-4A3E-BEFC-7DA5559FBF2A}"/>
          </ac:spMkLst>
        </pc:spChg>
        <pc:spChg chg="add del mod">
          <ac:chgData name="Alexander Beissel" userId="7f761a91-e9fe-43d8-a8fe-0f72b5675661" providerId="ADAL" clId="{20AD2A51-16EF-4346-AA92-4F83DFF46C7E}" dt="2022-04-19T13:25:53.087" v="319" actId="478"/>
          <ac:spMkLst>
            <pc:docMk/>
            <pc:sldMk cId="1382344874" sldId="272"/>
            <ac:spMk id="9" creationId="{82315EB8-7E3F-4C02-86C7-CC2D2B5680A0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09.156" v="1086" actId="47"/>
        <pc:sldMkLst>
          <pc:docMk/>
          <pc:sldMk cId="2088387938" sldId="273"/>
        </pc:sldMkLst>
        <pc:spChg chg="mod">
          <ac:chgData name="Alexander Beissel" userId="7f761a91-e9fe-43d8-a8fe-0f72b5675661" providerId="ADAL" clId="{20AD2A51-16EF-4346-AA92-4F83DFF46C7E}" dt="2022-04-19T13:26:32.223" v="373" actId="20577"/>
          <ac:spMkLst>
            <pc:docMk/>
            <pc:sldMk cId="2088387938" sldId="273"/>
            <ac:spMk id="2" creationId="{D2134584-B36D-40F1-BF1F-E4CA3141ED05}"/>
          </ac:spMkLst>
        </pc:spChg>
        <pc:spChg chg="del">
          <ac:chgData name="Alexander Beissel" userId="7f761a91-e9fe-43d8-a8fe-0f72b5675661" providerId="ADAL" clId="{20AD2A51-16EF-4346-AA92-4F83DFF46C7E}" dt="2022-04-19T13:26:34.782" v="374" actId="478"/>
          <ac:spMkLst>
            <pc:docMk/>
            <pc:sldMk cId="2088387938" sldId="273"/>
            <ac:spMk id="3" creationId="{76A6CE0F-74F9-4DF3-B6E4-B06C1626203C}"/>
          </ac:spMkLst>
        </pc:spChg>
        <pc:spChg chg="mod">
          <ac:chgData name="Alexander Beissel" userId="7f761a91-e9fe-43d8-a8fe-0f72b5675661" providerId="ADAL" clId="{20AD2A51-16EF-4346-AA92-4F83DFF46C7E}" dt="2022-04-19T13:26:56.177" v="382" actId="20577"/>
          <ac:spMkLst>
            <pc:docMk/>
            <pc:sldMk cId="2088387938" sldId="273"/>
            <ac:spMk id="4" creationId="{040B7082-DB47-44E0-A034-BDE82056F49E}"/>
          </ac:spMkLst>
        </pc:spChg>
        <pc:spChg chg="del">
          <ac:chgData name="Alexander Beissel" userId="7f761a91-e9fe-43d8-a8fe-0f72b5675661" providerId="ADAL" clId="{20AD2A51-16EF-4346-AA92-4F83DFF46C7E}" dt="2022-04-19T13:30:01.583" v="693" actId="478"/>
          <ac:spMkLst>
            <pc:docMk/>
            <pc:sldMk cId="2088387938" sldId="273"/>
            <ac:spMk id="6" creationId="{BB33FC8E-1E6B-409B-A3C1-BAA4E1CDA15D}"/>
          </ac:spMkLst>
        </pc:spChg>
        <pc:spChg chg="del">
          <ac:chgData name="Alexander Beissel" userId="7f761a91-e9fe-43d8-a8fe-0f72b5675661" providerId="ADAL" clId="{20AD2A51-16EF-4346-AA92-4F83DFF46C7E}" dt="2022-04-19T13:30:01.151" v="692" actId="478"/>
          <ac:spMkLst>
            <pc:docMk/>
            <pc:sldMk cId="2088387938" sldId="273"/>
            <ac:spMk id="7" creationId="{C6ECEE73-1B32-4FC4-9A83-5BD44D0FD7FD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0.214" v="1087" actId="47"/>
        <pc:sldMkLst>
          <pc:docMk/>
          <pc:sldMk cId="386646088" sldId="274"/>
        </pc:sldMkLst>
        <pc:spChg chg="mod">
          <ac:chgData name="Alexander Beissel" userId="7f761a91-e9fe-43d8-a8fe-0f72b5675661" providerId="ADAL" clId="{20AD2A51-16EF-4346-AA92-4F83DFF46C7E}" dt="2022-04-19T13:27:07.342" v="388" actId="20577"/>
          <ac:spMkLst>
            <pc:docMk/>
            <pc:sldMk cId="386646088" sldId="274"/>
            <ac:spMk id="2" creationId="{5B1AA473-6FA0-4772-B1BD-601D52BED8AB}"/>
          </ac:spMkLst>
        </pc:spChg>
        <pc:spChg chg="del">
          <ac:chgData name="Alexander Beissel" userId="7f761a91-e9fe-43d8-a8fe-0f72b5675661" providerId="ADAL" clId="{20AD2A51-16EF-4346-AA92-4F83DFF46C7E}" dt="2022-04-19T13:27:12.334" v="389" actId="478"/>
          <ac:spMkLst>
            <pc:docMk/>
            <pc:sldMk cId="386646088" sldId="274"/>
            <ac:spMk id="3" creationId="{69620CEE-EDFC-493F-8C02-49E8F9FE0482}"/>
          </ac:spMkLst>
        </pc:spChg>
        <pc:spChg chg="mod">
          <ac:chgData name="Alexander Beissel" userId="7f761a91-e9fe-43d8-a8fe-0f72b5675661" providerId="ADAL" clId="{20AD2A51-16EF-4346-AA92-4F83DFF46C7E}" dt="2022-04-19T13:28:52.943" v="647" actId="20577"/>
          <ac:spMkLst>
            <pc:docMk/>
            <pc:sldMk cId="386646088" sldId="274"/>
            <ac:spMk id="4" creationId="{C0E8058E-E6F0-47F2-831C-754C61D997A5}"/>
          </ac:spMkLst>
        </pc:spChg>
        <pc:spChg chg="del">
          <ac:chgData name="Alexander Beissel" userId="7f761a91-e9fe-43d8-a8fe-0f72b5675661" providerId="ADAL" clId="{20AD2A51-16EF-4346-AA92-4F83DFF46C7E}" dt="2022-04-19T13:29:55.840" v="691" actId="478"/>
          <ac:spMkLst>
            <pc:docMk/>
            <pc:sldMk cId="386646088" sldId="274"/>
            <ac:spMk id="6" creationId="{4A824151-FAB5-44C3-8FC1-5837F81C846C}"/>
          </ac:spMkLst>
        </pc:spChg>
        <pc:spChg chg="del">
          <ac:chgData name="Alexander Beissel" userId="7f761a91-e9fe-43d8-a8fe-0f72b5675661" providerId="ADAL" clId="{20AD2A51-16EF-4346-AA92-4F83DFF46C7E}" dt="2022-04-19T13:29:54.542" v="690" actId="478"/>
          <ac:spMkLst>
            <pc:docMk/>
            <pc:sldMk cId="386646088" sldId="274"/>
            <ac:spMk id="7" creationId="{D6E65EA9-BE09-48E3-8AD0-6CA400F9E19B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1.185" v="1088" actId="47"/>
        <pc:sldMkLst>
          <pc:docMk/>
          <pc:sldMk cId="1050706013" sldId="275"/>
        </pc:sldMkLst>
        <pc:spChg chg="mod">
          <ac:chgData name="Alexander Beissel" userId="7f761a91-e9fe-43d8-a8fe-0f72b5675661" providerId="ADAL" clId="{20AD2A51-16EF-4346-AA92-4F83DFF46C7E}" dt="2022-04-19T13:29:07.615" v="664" actId="20577"/>
          <ac:spMkLst>
            <pc:docMk/>
            <pc:sldMk cId="1050706013" sldId="275"/>
            <ac:spMk id="2" creationId="{F043AA59-7DC1-4BBF-97B2-21FD18A62F83}"/>
          </ac:spMkLst>
        </pc:spChg>
        <pc:spChg chg="del">
          <ac:chgData name="Alexander Beissel" userId="7f761a91-e9fe-43d8-a8fe-0f72b5675661" providerId="ADAL" clId="{20AD2A51-16EF-4346-AA92-4F83DFF46C7E}" dt="2022-04-19T13:29:10.751" v="665" actId="478"/>
          <ac:spMkLst>
            <pc:docMk/>
            <pc:sldMk cId="1050706013" sldId="275"/>
            <ac:spMk id="3" creationId="{B5582C05-2EF7-4796-BD00-D4BD46F61D78}"/>
          </ac:spMkLst>
        </pc:spChg>
        <pc:spChg chg="mod">
          <ac:chgData name="Alexander Beissel" userId="7f761a91-e9fe-43d8-a8fe-0f72b5675661" providerId="ADAL" clId="{20AD2A51-16EF-4346-AA92-4F83DFF46C7E}" dt="2022-04-19T13:29:28.673" v="687" actId="20577"/>
          <ac:spMkLst>
            <pc:docMk/>
            <pc:sldMk cId="1050706013" sldId="275"/>
            <ac:spMk id="4" creationId="{B8192921-B084-4E48-8CD2-DA3CD9ABCF5D}"/>
          </ac:spMkLst>
        </pc:spChg>
        <pc:spChg chg="del">
          <ac:chgData name="Alexander Beissel" userId="7f761a91-e9fe-43d8-a8fe-0f72b5675661" providerId="ADAL" clId="{20AD2A51-16EF-4346-AA92-4F83DFF46C7E}" dt="2022-04-19T13:29:37.359" v="689" actId="478"/>
          <ac:spMkLst>
            <pc:docMk/>
            <pc:sldMk cId="1050706013" sldId="275"/>
            <ac:spMk id="6" creationId="{EABC7D54-6CC9-45BA-8A86-65670295C2AA}"/>
          </ac:spMkLst>
        </pc:spChg>
        <pc:spChg chg="del">
          <ac:chgData name="Alexander Beissel" userId="7f761a91-e9fe-43d8-a8fe-0f72b5675661" providerId="ADAL" clId="{20AD2A51-16EF-4346-AA92-4F83DFF46C7E}" dt="2022-04-19T13:29:35.887" v="688" actId="478"/>
          <ac:spMkLst>
            <pc:docMk/>
            <pc:sldMk cId="1050706013" sldId="275"/>
            <ac:spMk id="7" creationId="{CBAA5495-681D-4A49-B501-37FDEE931B07}"/>
          </ac:spMkLst>
        </pc:spChg>
      </pc:sldChg>
      <pc:sldChg chg="del">
        <pc:chgData name="Alexander Beissel" userId="7f761a91-e9fe-43d8-a8fe-0f72b5675661" providerId="ADAL" clId="{20AD2A51-16EF-4346-AA92-4F83DFF46C7E}" dt="2022-04-19T13:18:59.095" v="44" actId="47"/>
        <pc:sldMkLst>
          <pc:docMk/>
          <pc:sldMk cId="2206161147" sldId="283"/>
        </pc:sldMkLst>
      </pc:sldChg>
      <pc:sldChg chg="del">
        <pc:chgData name="Alexander Beissel" userId="7f761a91-e9fe-43d8-a8fe-0f72b5675661" providerId="ADAL" clId="{20AD2A51-16EF-4346-AA92-4F83DFF46C7E}" dt="2022-04-19T13:19:02.403" v="47" actId="47"/>
        <pc:sldMkLst>
          <pc:docMk/>
          <pc:sldMk cId="1426205775" sldId="284"/>
        </pc:sldMkLst>
      </pc:sldChg>
      <pc:sldChg chg="modSp add mod ord">
        <pc:chgData name="Alexander Beissel" userId="7f761a91-e9fe-43d8-a8fe-0f72b5675661" providerId="ADAL" clId="{20AD2A51-16EF-4346-AA92-4F83DFF46C7E}" dt="2022-04-25T06:51:45.387" v="2061" actId="20577"/>
        <pc:sldMkLst>
          <pc:docMk/>
          <pc:sldMk cId="3511378347" sldId="548"/>
        </pc:sldMkLst>
        <pc:graphicFrameChg chg="mod modGraphic">
          <ac:chgData name="Alexander Beissel" userId="7f761a91-e9fe-43d8-a8fe-0f72b5675661" providerId="ADAL" clId="{20AD2A51-16EF-4346-AA92-4F83DFF46C7E}" dt="2022-04-25T06:51:45.387" v="2061" actId="20577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Alexander Beissel" userId="S::alexander@yakha.de::7f761a91-e9fe-43d8-a8fe-0f72b5675661" providerId="AD" clId="Web-{5080E5A9-A819-BC2E-5F4C-79E153F09B07}"/>
    <pc:docChg chg="delSld modSld">
      <pc:chgData name="Alexander Beissel" userId="S::alexander@yakha.de::7f761a91-e9fe-43d8-a8fe-0f72b5675661" providerId="AD" clId="Web-{5080E5A9-A819-BC2E-5F4C-79E153F09B07}" dt="2022-07-14T14:01:38.918" v="387"/>
      <pc:docMkLst>
        <pc:docMk/>
      </pc:docMkLst>
      <pc:sldChg chg="delSp modSp">
        <pc:chgData name="Alexander Beissel" userId="S::alexander@yakha.de::7f761a91-e9fe-43d8-a8fe-0f72b5675661" providerId="AD" clId="Web-{5080E5A9-A819-BC2E-5F4C-79E153F09B07}" dt="2022-07-14T14:01:38.918" v="387"/>
        <pc:sldMkLst>
          <pc:docMk/>
          <pc:sldMk cId="1534853746" sldId="256"/>
        </pc:sldMkLst>
        <pc:spChg chg="mod">
          <ac:chgData name="Alexander Beissel" userId="S::alexander@yakha.de::7f761a91-e9fe-43d8-a8fe-0f72b5675661" providerId="AD" clId="Web-{5080E5A9-A819-BC2E-5F4C-79E153F09B07}" dt="2022-07-14T13:53:03.560" v="4" actId="20577"/>
          <ac:spMkLst>
            <pc:docMk/>
            <pc:sldMk cId="1534853746" sldId="256"/>
            <ac:spMk id="2" creationId="{04E2F5CE-B60C-4FF4-B015-C0DC1B2FE661}"/>
          </ac:spMkLst>
        </pc:spChg>
        <pc:spChg chg="del mod">
          <ac:chgData name="Alexander Beissel" userId="S::alexander@yakha.de::7f761a91-e9fe-43d8-a8fe-0f72b5675661" providerId="AD" clId="Web-{5080E5A9-A819-BC2E-5F4C-79E153F09B07}" dt="2022-07-14T14:01:38.918" v="387"/>
          <ac:spMkLst>
            <pc:docMk/>
            <pc:sldMk cId="1534853746" sldId="256"/>
            <ac:spMk id="3" creationId="{D4662AD7-B021-4EE6-A103-75FEF4E68589}"/>
          </ac:spMkLst>
        </pc:spChg>
      </pc:sldChg>
      <pc:sldChg chg="del">
        <pc:chgData name="Alexander Beissel" userId="S::alexander@yakha.de::7f761a91-e9fe-43d8-a8fe-0f72b5675661" providerId="AD" clId="Web-{5080E5A9-A819-BC2E-5F4C-79E153F09B07}" dt="2022-07-14T13:52:53.982" v="0"/>
        <pc:sldMkLst>
          <pc:docMk/>
          <pc:sldMk cId="742850561" sldId="271"/>
        </pc:sldMkLst>
      </pc:sldChg>
      <pc:sldChg chg="modSp">
        <pc:chgData name="Alexander Beissel" userId="S::alexander@yakha.de::7f761a91-e9fe-43d8-a8fe-0f72b5675661" providerId="AD" clId="Web-{5080E5A9-A819-BC2E-5F4C-79E153F09B07}" dt="2022-07-14T13:59:29.809" v="386"/>
        <pc:sldMkLst>
          <pc:docMk/>
          <pc:sldMk cId="3511378347" sldId="548"/>
        </pc:sldMkLst>
        <pc:spChg chg="mod">
          <ac:chgData name="Alexander Beissel" userId="S::alexander@yakha.de::7f761a91-e9fe-43d8-a8fe-0f72b5675661" providerId="AD" clId="Web-{5080E5A9-A819-BC2E-5F4C-79E153F09B07}" dt="2022-07-14T13:54:40.748" v="97" actId="20577"/>
          <ac:spMkLst>
            <pc:docMk/>
            <pc:sldMk cId="3511378347" sldId="548"/>
            <ac:spMk id="2" creationId="{00000000-0000-0000-0000-000000000000}"/>
          </ac:spMkLst>
        </pc:spChg>
        <pc:graphicFrameChg chg="mod modGraphic">
          <ac:chgData name="Alexander Beissel" userId="S::alexander@yakha.de::7f761a91-e9fe-43d8-a8fe-0f72b5675661" providerId="AD" clId="Web-{5080E5A9-A819-BC2E-5F4C-79E153F09B07}" dt="2022-07-14T13:59:29.809" v="386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Mannoor Dhingra" userId="S::mannoor@yakha.de::266082c7-1094-4c71-8546-526467672b04" providerId="AD" clId="Web-{0C69B890-7DF7-3020-8776-3E60DD34B515}"/>
    <pc:docChg chg="modSld">
      <pc:chgData name="Mannoor Dhingra" userId="S::mannoor@yakha.de::266082c7-1094-4c71-8546-526467672b04" providerId="AD" clId="Web-{0C69B890-7DF7-3020-8776-3E60DD34B515}" dt="2022-10-27T06:51:05.226" v="2" actId="20577"/>
      <pc:docMkLst>
        <pc:docMk/>
      </pc:docMkLst>
      <pc:sldChg chg="modSp">
        <pc:chgData name="Mannoor Dhingra" userId="S::mannoor@yakha.de::266082c7-1094-4c71-8546-526467672b04" providerId="AD" clId="Web-{0C69B890-7DF7-3020-8776-3E60DD34B515}" dt="2022-10-27T06:51:05.226" v="2" actId="20577"/>
        <pc:sldMkLst>
          <pc:docMk/>
          <pc:sldMk cId="3511378347" sldId="548"/>
        </pc:sldMkLst>
        <pc:spChg chg="mod">
          <ac:chgData name="Mannoor Dhingra" userId="S::mannoor@yakha.de::266082c7-1094-4c71-8546-526467672b04" providerId="AD" clId="Web-{0C69B890-7DF7-3020-8776-3E60DD34B515}" dt="2022-10-27T06:51:05.226" v="2" actId="20577"/>
          <ac:spMkLst>
            <pc:docMk/>
            <pc:sldMk cId="3511378347" sldId="548"/>
            <ac:spMk id="2" creationId="{00000000-0000-0000-0000-000000000000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6D65E95-2917-3B46-8A1A-750576C5DE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A32802-F0E1-964A-94EF-65157EB9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97983" y="2015661"/>
            <a:ext cx="8096811" cy="23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49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E01E96-D3F3-FE4F-A2ED-D0EB528817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635021"/>
            <a:ext cx="5092288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FED7C5DB-91B7-4E4D-9895-F3FCCED9D4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173" y="1635021"/>
            <a:ext cx="5092287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2CAF69C-DEF2-DA4B-BD1A-BB9007EC05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97992F3C-ECE6-684F-9CFC-A25DA7070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E24590-9CE9-5F4B-8D6D-F9C877A76F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976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F7649-40CD-FA4E-AACA-2CF42D05CA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F8DD6EA-6959-144C-B254-09137D4942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23E9131-8458-5F45-B13A-A56DDEFB60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16EDEF0-E6A8-DE47-A4BA-887AAFF4E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3722461-FC60-A249-9612-A9F88DD400F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6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12B38AF-CEDC-944C-B940-91D3A9E5D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64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10CEABB0-8583-6C42-B88D-E7BBB76B68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02E81302-971E-3443-B69E-9E3137CB80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448B16-8744-C640-9027-4AFB10F9DD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FEFC8D-B4C9-9E45-AE8B-E97E74CC8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C17AC851-AB0D-6147-96D8-96CA6266351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6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6F7937C-4058-5348-B32D-C450D3B7437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01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0CC9E-9861-4AB4-B45D-F2776F40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F5F3BBA-B0CA-471C-9308-A2D3B152BC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55CC9-EDBB-493F-9D84-399A3BB2C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6.10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59A86E-834D-4EF3-BBA3-A24D73DB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5DAB00-312B-4010-BB8D-2222C5F2C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0455B-7805-4176-9EFB-640C29DAF25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326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5F952E0-4A2A-0C40-94AC-492F53FB5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F705F88-2A77-0B48-A275-3310103319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0A1640F-D124-3640-83AA-24D505939D4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56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552E365-3AB2-7547-B979-0300EC3E8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FDAD9-AF5D-EB4A-BB95-C3D0BE0369C7}"/>
              </a:ext>
            </a:extLst>
          </p:cNvPr>
          <p:cNvSpPr txBox="1"/>
          <p:nvPr userDrawn="1"/>
        </p:nvSpPr>
        <p:spPr>
          <a:xfrm>
            <a:off x="6451600" y="-10541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de-DE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2B23FDCB-2D2F-F94A-8ED7-5E00F763D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227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24000"/>
              <a:buFontTx/>
              <a:buNone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D246FE8-7FA8-F54C-8310-33440D9C0A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CF1B0CFB-4189-A141-BFC2-38713A428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6D6EAA62-9349-4A4D-8B54-D423273D4B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77694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-1" y="1603375"/>
            <a:ext cx="12192001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C3F003-4162-DD48-A298-0E3ADA618B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995488"/>
            <a:ext cx="10870395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C41B20-3833-8F44-BEE1-35F22B46B8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9D5BAB6-05B8-4A43-999A-11C1B9BC4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12A87F-B94E-3046-B171-65471A4953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4580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F8160472-0F90-1445-AF51-52E8D697E1EE}"/>
              </a:ext>
            </a:extLst>
          </p:cNvPr>
          <p:cNvSpPr/>
          <p:nvPr userDrawn="1"/>
        </p:nvSpPr>
        <p:spPr>
          <a:xfrm>
            <a:off x="0" y="1534319"/>
            <a:ext cx="12192000" cy="5323681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95E737-0B3B-844A-8EAB-DA80FEDF6B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CCA7108-A300-0145-AD93-9D54D9DA4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8294007" cy="209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77F46F98-7A9D-E942-9EE6-34B846AFB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8294007" cy="1319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2246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3213100" y="1603375"/>
            <a:ext cx="8978900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EE0D88FC-809B-4848-A564-2D64B447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BAFDFD6-3BC2-FA4D-8DAE-D4006F1070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03EBC9D-DE9F-C044-A551-8B08EE1019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600849"/>
            <a:ext cx="3213100" cy="43375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D89B047-1823-624F-A251-B8052805C6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08224" y="2176530"/>
            <a:ext cx="7881714" cy="30780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Zweite Eben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ritte Ebene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Fünfte Eben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C7A4F68B-0640-F542-A56C-532F5CD44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F8E3E81-E907-3945-8EC9-12089B21B2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4BE7E-89EA-C047-9EA8-9381C96D42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77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2545" y="62159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5F0455B-7805-4176-9EFB-640C29DAF252}" type="slidenum">
              <a:rPr lang="de-DE" smtClean="0"/>
              <a:t>‹#›</a:t>
            </a:fld>
            <a:endParaRPr lang="de-DE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383551E-751F-D64C-8DB4-F89D745B0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255" y="6215964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fld id="{4D422E48-44B6-4A3B-9244-C3A90E749452}" type="datetimeFigureOut">
              <a:rPr lang="de-DE" smtClean="0"/>
              <a:t>26.10.2022</a:t>
            </a:fld>
            <a:endParaRPr lang="de-DE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30344781-94A4-5F4A-B51E-18287EF7D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72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9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9423" y="6215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CDE215AB-35F6-154F-8FF7-90D8DC0E6B0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playlist?list=PL_RGaFnxSHWr_6xTfF2FrIw-NAOo3iWMy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47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2F5CE-B60C-4FF4-B015-C0DC1B2FE6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/>
          <a:lstStyle/>
          <a:p>
            <a:r>
              <a:rPr lang="de-DE" dirty="0"/>
              <a:t>Module 7: </a:t>
            </a:r>
            <a:br>
              <a:rPr lang="de-DE" dirty="0"/>
            </a:br>
            <a:r>
              <a:rPr lang="de-DE" dirty="0" err="1"/>
              <a:t>Advanced</a:t>
            </a:r>
            <a:r>
              <a:rPr lang="de-DE" dirty="0"/>
              <a:t> SQL Day 1</a:t>
            </a:r>
          </a:p>
        </p:txBody>
      </p:sp>
    </p:spTree>
    <p:extLst>
      <p:ext uri="{BB962C8B-B14F-4D97-AF65-F5344CB8AC3E}">
        <p14:creationId xmlns:p14="http://schemas.microsoft.com/office/powerpoint/2010/main" val="1534853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27.10.20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986053"/>
              </p:ext>
            </p:extLst>
          </p:nvPr>
        </p:nvGraphicFramePr>
        <p:xfrm>
          <a:off x="453269" y="1731419"/>
          <a:ext cx="9840836" cy="3884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124">
                  <a:extLst>
                    <a:ext uri="{9D8B030D-6E8A-4147-A177-3AD203B41FA5}">
                      <a16:colId xmlns:a16="http://schemas.microsoft.com/office/drawing/2014/main" val="2130158455"/>
                    </a:ext>
                  </a:extLst>
                </a:gridCol>
                <a:gridCol w="1329203">
                  <a:extLst>
                    <a:ext uri="{9D8B030D-6E8A-4147-A177-3AD203B41FA5}">
                      <a16:colId xmlns:a16="http://schemas.microsoft.com/office/drawing/2014/main" val="777016462"/>
                    </a:ext>
                  </a:extLst>
                </a:gridCol>
                <a:gridCol w="7510509">
                  <a:extLst>
                    <a:ext uri="{9D8B030D-6E8A-4147-A177-3AD203B41FA5}">
                      <a16:colId xmlns:a16="http://schemas.microsoft.com/office/drawing/2014/main" val="2836417322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from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pic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54829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ntroduction</a:t>
                      </a:r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90680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8453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30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Coffee break 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043211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 Block: </a:t>
                      </a:r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S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288920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~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unch Break</a:t>
                      </a:r>
                    </a:p>
                    <a:p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751719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ontent Questions</a:t>
                      </a:r>
                      <a:endParaRPr lang="de-DE" sz="1600" dirty="0" err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51198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Excecise</a:t>
                      </a:r>
                      <a:r>
                        <a:rPr lang="de-DE" sz="1600" dirty="0">
                          <a:latin typeface="+mn-lt"/>
                        </a:rPr>
                        <a:t>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846305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7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 Block : </a:t>
                      </a:r>
                      <a:r>
                        <a:rPr lang="de-DE" sz="1600" dirty="0" err="1">
                          <a:latin typeface="+mn-lt"/>
                        </a:rPr>
                        <a:t>Exc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628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378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opic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oday</a:t>
            </a:r>
            <a:r>
              <a:rPr lang="de-DE" dirty="0"/>
              <a:t> in Brief</a:t>
            </a:r>
            <a:endParaRPr lang="en-IN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QL </a:t>
            </a:r>
            <a:r>
              <a:rPr lang="de-DE" dirty="0" err="1"/>
              <a:t>Commands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GROUP BY</a:t>
            </a:r>
            <a:r>
              <a:rPr lang="de-DE" dirty="0"/>
              <a:t>: </a:t>
            </a:r>
            <a:r>
              <a:rPr lang="en-IN" dirty="0"/>
              <a:t>The GROUP BY clause will group records in a result set by identical values in one or more columns.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HAVING</a:t>
            </a:r>
            <a:r>
              <a:rPr lang="de-DE" dirty="0"/>
              <a:t>: </a:t>
            </a:r>
            <a:r>
              <a:rPr lang="en-IN" dirty="0"/>
              <a:t>The HAVING clause is used to further filter the result set groups provided by the GROUP BY claus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Aggregate</a:t>
            </a:r>
            <a:r>
              <a:rPr lang="de-DE" dirty="0"/>
              <a:t> </a:t>
            </a:r>
            <a:r>
              <a:rPr lang="de-DE" b="1" dirty="0" err="1"/>
              <a:t>functions</a:t>
            </a:r>
            <a:r>
              <a:rPr lang="de-DE" dirty="0"/>
              <a:t>: </a:t>
            </a:r>
            <a:r>
              <a:rPr lang="en-IN" dirty="0"/>
              <a:t>Aggregate functions perform a calculation on a set of values and return a single value. 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GmbH</a:t>
            </a:r>
            <a:endParaRPr lang="en-IN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9448800" y="6216650"/>
            <a:ext cx="2743200" cy="365125"/>
          </a:xfrm>
        </p:spPr>
        <p:txBody>
          <a:bodyPr/>
          <a:lstStyle/>
          <a:p>
            <a:fld id="{CDE215AB-35F6-154F-8FF7-90D8DC0E6B0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4098" name="Picture 2" descr="Enumerate and Explain All the Basic Elements of an SQL Query | LearnSQL.co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7846" y="1534319"/>
            <a:ext cx="5102941" cy="3529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7054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eria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Schedule:</a:t>
            </a:r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Watch the videos 26, 33-47, 51, 52 of the below playlist:</a:t>
            </a:r>
          </a:p>
          <a:p>
            <a:r>
              <a:rPr lang="en-IN" i="1" dirty="0">
                <a:hlinkClick r:id="rId2"/>
              </a:rPr>
              <a:t>https://www.youtube.com/playlist?list=PL_RGaFnxSHWr_6xTfF2FrIw-NAOo3iWMy</a:t>
            </a:r>
            <a:endParaRPr lang="en-IN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Go through the below training material- `SQL Group By` - `SQL Operators`:</a:t>
            </a:r>
          </a:p>
          <a:p>
            <a:r>
              <a:rPr lang="en-IN" i="1" u="sng" dirty="0">
                <a:solidFill>
                  <a:srgbClr val="FFCC00"/>
                </a:solidFill>
              </a:rPr>
              <a:t>https://www.w3schools.com/sql/sql_groupby.asp</a:t>
            </a:r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GmbH</a:t>
            </a:r>
            <a:endParaRPr lang="en-IN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1387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estion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sw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/>
              <a:t>: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difference between WHERE and HAVING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do you understand about a character manipulation function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How can you fetch common records from two tables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difference between COUNT(*), COUNT(expression), and COUNT(DISTINCT expression)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will this code return?</a:t>
            </a:r>
          </a:p>
          <a:p>
            <a:pPr marL="228600" indent="-228600">
              <a:buFont typeface="+mj-lt"/>
              <a:buAutoNum type="arabicPeriod"/>
            </a:pPr>
            <a:endParaRPr lang="de-DE" sz="1600" dirty="0"/>
          </a:p>
          <a:p>
            <a:pPr marL="228600" indent="-228600">
              <a:buFont typeface="+mj-lt"/>
              <a:buAutoNum type="arabicPeriod"/>
            </a:pPr>
            <a:endParaRPr lang="de-DE" sz="1600" dirty="0"/>
          </a:p>
          <a:p>
            <a:pPr marL="228600" indent="-228600">
              <a:buFont typeface="+mj-lt"/>
              <a:buAutoNum type="arabicPeriod"/>
            </a:pPr>
            <a:endParaRPr lang="de-DE" sz="1600" dirty="0"/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y do we need to have columns that are not part of GROUP BY Clause as part of aggregate function?</a:t>
            </a:r>
          </a:p>
          <a:p>
            <a:pPr>
              <a:spcBef>
                <a:spcPts val="0"/>
              </a:spcBef>
            </a:pPr>
            <a:r>
              <a:rPr lang="de-DE" sz="1600" i="1" dirty="0">
                <a:solidFill>
                  <a:srgbClr val="5DBCE8"/>
                </a:solidFill>
              </a:rPr>
              <a:t>	</a:t>
            </a:r>
            <a:endParaRPr lang="en-IN" sz="1600" dirty="0"/>
          </a:p>
          <a:p>
            <a:pPr marL="228600" indent="-228600">
              <a:buFont typeface="+mj-lt"/>
              <a:buAutoNum type="arabicPeriod"/>
            </a:pPr>
            <a:endParaRPr lang="en-IN" sz="1600" dirty="0"/>
          </a:p>
          <a:p>
            <a:endParaRPr lang="en-IN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GmbH</a:t>
            </a:r>
            <a:endParaRPr lang="en-IN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Abgerundetes Rechteck 10"/>
          <p:cNvSpPr/>
          <p:nvPr/>
        </p:nvSpPr>
        <p:spPr>
          <a:xfrm>
            <a:off x="2167849" y="3595954"/>
            <a:ext cx="3143891" cy="1047965"/>
          </a:xfrm>
          <a:prstGeom prst="round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</a:pPr>
            <a:r>
              <a:rPr lang="en-IN" sz="1600" i="1" dirty="0"/>
              <a:t>SELECT department, month,</a:t>
            </a:r>
          </a:p>
          <a:p>
            <a:pPr>
              <a:spcBef>
                <a:spcPts val="0"/>
              </a:spcBef>
            </a:pPr>
            <a:r>
              <a:rPr lang="en-IN" sz="1600" i="1" dirty="0"/>
              <a:t>    AVG(salary) AS </a:t>
            </a:r>
            <a:r>
              <a:rPr lang="en-IN" sz="1600" i="1" dirty="0" err="1"/>
              <a:t>average_salary</a:t>
            </a:r>
            <a:endParaRPr lang="en-IN" sz="1600" i="1" dirty="0"/>
          </a:p>
          <a:p>
            <a:pPr>
              <a:spcBef>
                <a:spcPts val="0"/>
              </a:spcBef>
            </a:pPr>
            <a:r>
              <a:rPr lang="en-IN" sz="1600" i="1" dirty="0"/>
              <a:t>FROM salaries</a:t>
            </a:r>
          </a:p>
          <a:p>
            <a:pPr>
              <a:spcBef>
                <a:spcPts val="0"/>
              </a:spcBef>
            </a:pPr>
            <a:r>
              <a:rPr lang="en-IN" sz="1600" i="1" dirty="0"/>
              <a:t>GROUP BY department;</a:t>
            </a:r>
          </a:p>
        </p:txBody>
      </p:sp>
    </p:spTree>
    <p:extLst>
      <p:ext uri="{BB962C8B-B14F-4D97-AF65-F5344CB8AC3E}">
        <p14:creationId xmlns:p14="http://schemas.microsoft.com/office/powerpoint/2010/main" val="792858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IN" sz="1600" dirty="0"/>
              <a:t>In the ‘Orders’ table, write a SQL query to calculate total purchase amount of all orders. Return total purchase amount. 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600" dirty="0"/>
              <a:t>From the ‘Orders’ table, write a SQL query to calculate the average purchase amount of all orders. Return average purchase amount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600" dirty="0"/>
              <a:t>From the ‘Orders’ table, write a SQL query that counts the number of unique salespeople. Return number of salespeople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600" dirty="0"/>
              <a:t>From the ‘Customer’ table, write a SQL query to count the number of customers. Return number of customers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600" dirty="0"/>
              <a:t>From the ‘Customer’ table, write a SQL query to determine the number of customers who received at least one grade for their activity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600" dirty="0"/>
              <a:t>From the ‘Orders’ table, write a SQL query to find the maximum and minimum purchase amount.</a:t>
            </a:r>
          </a:p>
          <a:p>
            <a:pPr marL="342900" indent="-342900">
              <a:buFont typeface="+mj-lt"/>
              <a:buAutoNum type="arabicPeriod"/>
            </a:pPr>
            <a:r>
              <a:rPr lang="en-IN" sz="1600" dirty="0"/>
              <a:t>From the ‘Customer’ table, write a SQL query to find the highest grade of the customers in each city. Return city, maximum grade.</a:t>
            </a:r>
          </a:p>
          <a:p>
            <a:pPr marL="342900" indent="-342900">
              <a:buFont typeface="+mj-lt"/>
              <a:buAutoNum type="arabicPeriod"/>
            </a:pPr>
            <a:endParaRPr lang="en-IN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GmbH</a:t>
            </a:r>
            <a:endParaRPr lang="en-IN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3834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ercise</a:t>
            </a:r>
            <a:r>
              <a:rPr lang="de-DE" dirty="0"/>
              <a:t> (</a:t>
            </a:r>
            <a:r>
              <a:rPr lang="de-DE" dirty="0" err="1"/>
              <a:t>Cont</a:t>
            </a:r>
            <a:r>
              <a:rPr lang="de-DE" dirty="0"/>
              <a:t>.)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76371"/>
          </a:xfrm>
        </p:spPr>
        <p:txBody>
          <a:bodyPr/>
          <a:lstStyle/>
          <a:p>
            <a:pPr marL="342900" indent="-342900">
              <a:buFont typeface="+mj-lt"/>
              <a:buAutoNum type="arabicPeriod" startAt="8"/>
            </a:pPr>
            <a:r>
              <a:rPr lang="en-IN" sz="1600" dirty="0"/>
              <a:t>From the ‘Orders’ table, write a SQL query to find the highest purchase amount ordered by each customer. Return customer ID, maximum purchase amount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sz="1600" dirty="0"/>
              <a:t>From the ‘Orders’ table, write a SQL query to find the highest purchase amount ordered by each customer on a particular date. Return, order date and highest purchase amount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sz="1600" dirty="0"/>
              <a:t>From the ‘Orders’ table, write a SQL query to determine the highest purchase amount made by each salesperson on '2012-08-17'. Return salesperson ID, purchase amount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sz="1600" dirty="0"/>
              <a:t>From the ‘Orders’ table, write a SQL query to find the highest order (purchase) amount by each customer on a particular order date. Filter the result by highest order (purchase) amount above 2000.00. Return customer id, order date and maximum purchase amount. 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sz="1600" dirty="0"/>
              <a:t>From the ‘Orders’ table, write a SQL query to find the maximum order (purchase) amount in the range 2000 - 6000 (Begin and end values are included.) by combination of each customer and order date. Return customer id, order date and maximum purchase amount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sz="1600" dirty="0"/>
              <a:t>From the ‘Salesman’ table, write a SQL query to count the number of salespeople in a city. Return number of salespeople.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GmbH</a:t>
            </a:r>
            <a:endParaRPr lang="en-IN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03669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64FB8A-B32F-4C9B-B210-588EA08E4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ein </a:t>
            </a:r>
            <a:r>
              <a:rPr lang="de-DE" dirty="0" err="1"/>
              <a:t>yakha</a:t>
            </a:r>
            <a:r>
              <a:rPr lang="de-DE" dirty="0"/>
              <a:t> Tea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C5981A-FCDD-477D-8F05-28CFE4882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luck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12142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heme/theme1.xml><?xml version="1.0" encoding="utf-8"?>
<a:theme xmlns:a="http://schemas.openxmlformats.org/drawingml/2006/main" name="1_Titelfolie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697400BD-1189-BD40-BD69-8458CC5C0ADA}"/>
    </a:ext>
  </a:extLst>
</a:theme>
</file>

<file path=ppt/theme/theme2.xml><?xml version="1.0" encoding="utf-8"?>
<a:theme xmlns:a="http://schemas.openxmlformats.org/drawingml/2006/main" name="2_Content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E2B0A2F4-DF1A-0E49-80AC-D240EFF47E6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291c839-b064-4612-b2b7-7b9c954e2dde">
      <UserInfo>
        <DisplayName>Mannoor Dhingra</DisplayName>
        <AccountId>96</AccountId>
        <AccountType/>
      </UserInfo>
    </SharedWithUsers>
    <TaxCatchAll xmlns="7291c839-b064-4612-b2b7-7b9c954e2dde" xsi:nil="true"/>
    <lcf76f155ced4ddcb4097134ff3c332f xmlns="2e4748a0-b4ab-48db-9308-52f303955d8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421C897DCB6489388739BE5152E52" ma:contentTypeVersion="16" ma:contentTypeDescription="Create a new document." ma:contentTypeScope="" ma:versionID="cdf130fe1d4b61feac6189f5de43d166">
  <xsd:schema xmlns:xsd="http://www.w3.org/2001/XMLSchema" xmlns:xs="http://www.w3.org/2001/XMLSchema" xmlns:p="http://schemas.microsoft.com/office/2006/metadata/properties" xmlns:ns2="2e4748a0-b4ab-48db-9308-52f303955d84" xmlns:ns3="7291c839-b064-4612-b2b7-7b9c954e2dde" targetNamespace="http://schemas.microsoft.com/office/2006/metadata/properties" ma:root="true" ma:fieldsID="a38ade7d396767d57d2d1f7812355e80" ns2:_="" ns3:_="">
    <xsd:import namespace="2e4748a0-b4ab-48db-9308-52f303955d84"/>
    <xsd:import namespace="7291c839-b064-4612-b2b7-7b9c954e2d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748a0-b4ab-48db-9308-52f303955d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fd28c19-b00c-4795-afe6-d1f7b3d62bc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91c839-b064-4612-b2b7-7b9c954e2dd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c7041d1-890b-478a-a170-a8eb1609b767}" ma:internalName="TaxCatchAll" ma:showField="CatchAllData" ma:web="7291c839-b064-4612-b2b7-7b9c954e2d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6C0CB0-91AA-4B64-A684-2BFC59638F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7968C43-48D2-47B2-884B-9CA0EE399ADE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purl.org/dc/elements/1.1/"/>
    <ds:schemaRef ds:uri="2e4748a0-b4ab-48db-9308-52f303955d84"/>
    <ds:schemaRef ds:uri="http://www.w3.org/XML/1998/namespace"/>
    <ds:schemaRef ds:uri="7291c839-b064-4612-b2b7-7b9c954e2dde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2021643-821A-48A8-B74B-7E226C6027AF}"/>
</file>

<file path=docProps/app.xml><?xml version="1.0" encoding="utf-8"?>
<Properties xmlns="http://schemas.openxmlformats.org/officeDocument/2006/extended-properties" xmlns:vt="http://schemas.openxmlformats.org/officeDocument/2006/docPropsVTypes">
  <Template>yakha</Template>
  <TotalTime>0</TotalTime>
  <Words>690</Words>
  <Application>Microsoft Office PowerPoint</Application>
  <PresentationFormat>Widescreen</PresentationFormat>
  <Paragraphs>84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1_Titelfolie</vt:lpstr>
      <vt:lpstr>2_Content</vt:lpstr>
      <vt:lpstr>PowerPoint Presentation</vt:lpstr>
      <vt:lpstr>Module 7:  Advanced SQL Day 1</vt:lpstr>
      <vt:lpstr>Agenda 27.10.2022</vt:lpstr>
      <vt:lpstr>Topics for today in Brief</vt:lpstr>
      <vt:lpstr>Material</vt:lpstr>
      <vt:lpstr>Questions</vt:lpstr>
      <vt:lpstr>Exercise</vt:lpstr>
      <vt:lpstr>Exercise (Cont.)</vt:lpstr>
      <vt:lpstr>Good lu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elle  Werth</dc:creator>
  <cp:lastModifiedBy>Mannoor Dhingra</cp:lastModifiedBy>
  <cp:revision>79</cp:revision>
  <dcterms:created xsi:type="dcterms:W3CDTF">2022-02-14T14:16:18Z</dcterms:created>
  <dcterms:modified xsi:type="dcterms:W3CDTF">2022-10-27T06:5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421C897DCB6489388739BE5152E52</vt:lpwstr>
  </property>
  <property fmtid="{D5CDD505-2E9C-101B-9397-08002B2CF9AE}" pid="3" name="MediaServiceImageTags">
    <vt:lpwstr/>
  </property>
</Properties>
</file>